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74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</p:sldIdLst>
  <p:sldSz cx="12192000" cy="6858000"/>
  <p:notesSz cx="6858000" cy="9144000"/>
  <p:custDataLst>
    <p:tags r:id="rId9"/>
  </p:custDataLst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4669"/>
  </p:normalViewPr>
  <p:slideViewPr>
    <p:cSldViewPr snapToGrid="0" snapToObjects="1">
      <p:cViewPr varScale="1">
        <p:scale>
          <a:sx n="110" d="100"/>
          <a:sy n="110" d="100"/>
        </p:scale>
        <p:origin x="53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5D777-F8E8-064F-9C19-83024397CC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68BBAF-C228-714D-9A7C-93C4C048C0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29C24-776E-6847-82A3-B057E0E11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32960-84C8-4544-A4DE-6DB1F3E23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81EF8E-BB3F-434C-87B3-271E51EAF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507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C17F03-4513-7F4B-8797-721D3D8006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DEF825-726E-8549-8731-BC843FC1A0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B68FBD-CC8F-3845-9242-A628845ABC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BB5731-55E7-E84D-ADA9-8F5BBAFCB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7B375F-F2AC-974B-A62E-45D1C07F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5014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A1F2B36-6647-854C-BB4C-3E33CCF726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6F48F1-C9E9-814F-9822-973C94A0D3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93648D-6EBB-254B-A285-69CE827121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5C06F9-B441-A541-A560-F16EE69F4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7D7AB-2649-7A48-B5D6-8D268FF7F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581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3496B-530C-1743-A21B-36A3618FC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79F71-1C04-A749-A403-6E7B4AC34B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980401-32CA-C74D-B704-05F75CD95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013DAC-7CAC-0843-A69C-9C47A215D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643991-6F95-EE4E-8B1E-67FD0FCAB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113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1D90D1-A47A-C145-834F-A3AC026DA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B2DFE1-8703-8F41-AE32-6062613977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500B46-C660-2149-BC3D-0C7B72639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862805-5ADD-9945-9D1D-6A5130A9FA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B450F2-F371-3B45-A0D5-21D2FD58A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124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89B04-1557-DB45-94CA-0561327C6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178C7-E2D3-1346-9F24-3D13E27A98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C5B470-ACD1-224C-B420-08120993F8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E7B154-9F22-CF4D-A60C-16591C7CD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441246-B556-1849-B2BE-2BE9CDEB1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6C3B6-0719-4148-823E-17B9E6FF9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1326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0BB10-6A91-4546-9E8E-058FC6C23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C63C4A-3EC9-AD4C-91FA-304F5EAD3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EA2721-5AFF-8E47-A08D-33061FB250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F10552-1082-C347-92B5-4AC489CD3E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BF1B4D5-90B3-D841-8FA0-491A8FD21A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A8DA9C-99F4-7249-B497-9179E4B6E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587B24-28D8-8747-989E-F87436535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C390CFF-C2C5-C348-BC5E-35F7188E0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954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69095E-96B9-1148-8E0C-EC694AE44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C08457-90C8-BD4B-AC7B-8D6279B2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652664-A260-5843-A682-FDC5D0762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B26DE0-6788-DC43-A1EF-A541FEBC9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7565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CE190D-B7FB-BB4A-8A6E-A91BF8B87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671411-416B-0C44-92E2-AC52AF02F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B57CAD-81A1-4644-B557-C943ADCD0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7057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2D0B29-1D7E-0F48-9601-9870A452C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E02FD-C80C-C744-87F4-235A3482EF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808BAE-2875-244A-A08A-94A29C638F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DA16ED-B211-7142-95AD-2FB0C32AA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1CAC77-ADC2-0244-B88D-73510D510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AE1513-C33B-684D-B4FB-80183BE6A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9459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2AFE3-6553-F34F-A5E0-9B92614F9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559E27-12AF-704E-BC3D-33E72C0581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72AAA5-7411-9F4C-8B15-73387F58BA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00FDA3-F59C-674B-80B0-F787131B1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4130AC-F668-3346-ABCD-6B0E8839DA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503CF9-1A33-4A42-B6F5-ED82BF15F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412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164F4F-F58A-EF4B-88EE-4C3CFFB49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FB8DDA-87D6-3141-872B-8D14A25BF4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9A306-E23F-454E-BA48-8EEBE1EED2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4/27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2A000A-BDFF-A34E-BF03-CD9D0734B3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BC340F-46FA-3B49-BDE4-1F8F89F9C5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34B60A-2EE8-074A-B442-37DB6D984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49109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E55EBB4-848A-C940-85B7-BD90C4AE4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990211C-8F8D-3B48-A6F5-601978D04A5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400" b="0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68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B1A7251-D84D-194F-BED1-60318B2847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5476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6DF0B8-23F6-CB4F-9407-5CA33A8678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26E7732-179B-F24E-901F-3EA2A1BEF949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2025650"/>
            <a:ext cx="8680450" cy="2806700"/>
          </a:xfrm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</a:pPr>
            <a:r>
              <a:rPr lang="it-IT" sz="40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BM CAPSTONE PROJECT – </a:t>
            </a:r>
            <a:r>
              <a:rPr lang="en" sz="40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he Battle of Neighborhoods: </a:t>
            </a:r>
            <a:b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lang="en" sz="36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luster Analysis of London Real Estate Market</a:t>
            </a:r>
            <a:endParaRPr lang="it-IT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4783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3EC42F-B727-8A43-8F38-A0134059E7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844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BE1A8A-214F-C14C-8775-45483ABE08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t-IT" sz="4400" dirty="0"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A35C39A-9140-3B49-AF9A-EB7A1E023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usiness </a:t>
            </a:r>
            <a:r>
              <a:rPr lang="it-IT" dirty="0" err="1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roblem</a:t>
            </a:r>
            <a:r>
              <a:rPr lang="it-IT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it-IT" dirty="0" err="1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ection</a:t>
            </a:r>
            <a:endParaRPr lang="it-IT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CE58E34-076D-4544-8D84-448AACE620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ondon Housing Market is in a rut:</a:t>
            </a:r>
          </a:p>
          <a:p>
            <a:pPr marL="342900" indent="-342900"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rexit </a:t>
            </a:r>
          </a:p>
          <a:p>
            <a:pPr marL="342900" indent="-342900"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Hidden price falls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Record-low sales </a:t>
            </a:r>
          </a:p>
          <a:p>
            <a:pPr marL="342900" indent="-342900"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Homebuilder exodus </a:t>
            </a:r>
          </a:p>
          <a:p>
            <a:pPr marL="342900" indent="-342900"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ax hikes addressing overseas buyers of homes in England and Wales.</a:t>
            </a:r>
            <a:endParaRPr lang="it-IT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467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F5E7E0-CC53-E74B-A999-3DCDC13191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644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292BDD3-F191-AA4E-AB7D-CB7129F0B9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t-IT" sz="4400" dirty="0"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31F0254B-123A-4D4A-B419-30F524BF3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usiness </a:t>
            </a:r>
            <a:r>
              <a:rPr lang="it-IT" dirty="0" err="1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roblem</a:t>
            </a:r>
            <a:endParaRPr lang="it-IT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40B6F24-7850-9B4F-A920-82E8041FB4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How could we provide support to homebuyers clientele in to purchase a suitable real estate in London in this uncertain economic and financial scenario?</a:t>
            </a:r>
            <a:endParaRPr lang="it-IT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740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953D2AC-8925-8246-BF59-48AF6F5E6C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881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F03825A2-8DD2-DB44-AFEC-0B05F6C4C7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olution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5D71D72-2211-9F48-AD3F-B8684A738A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lustering London neighborhoods in order to recommend venues and the current average price of real estate where homebuyers can make a real estate investment. </a:t>
            </a:r>
            <a:endParaRPr lang="it-IT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7096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F052435-6879-9E4E-947E-CF08DE3CB4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217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05EFE4C-B268-AA42-9317-34E7A721C4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t-IT" sz="4400" dirty="0"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92D65DE-0A4D-4D4E-B5ED-E2290A42D6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ata and </a:t>
            </a:r>
            <a:r>
              <a:rPr lang="it-IT" dirty="0" err="1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Methodology</a:t>
            </a:r>
            <a:endParaRPr lang="it-IT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BAF8A4A-2E16-2E4C-A988-95A259F89D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>
              <a:lnSpc>
                <a:spcPct val="150000"/>
              </a:lnSpc>
            </a:pPr>
            <a:r>
              <a:rPr lang="it-IT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ata: </a:t>
            </a: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merging data on London properties and the relative price paid data from the HM Land Registry and data on amenities and essential facilities surrounding such properties from </a:t>
            </a:r>
            <a:r>
              <a:rPr lang="en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FourSquare</a:t>
            </a: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API interface.</a:t>
            </a:r>
          </a:p>
          <a:p>
            <a:pPr>
              <a:lnSpc>
                <a:spcPct val="150000"/>
              </a:lnSpc>
            </a:pPr>
            <a:r>
              <a:rPr lang="en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Mehodology</a:t>
            </a: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: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ollect Inspection Data;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xplore and Understand Data;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ata preparation and preprocessing;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Modeling</a:t>
            </a:r>
            <a:endParaRPr lang="it-IT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9701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B1F4AA-D36C-7346-8175-94CB3B50A4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8546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91F09C-C57F-C449-805A-634B50A6993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700" dirty="0"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661FC6B-425D-9849-9B81-F1836A50C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3982" y="4293388"/>
            <a:ext cx="8833655" cy="727748"/>
          </a:xfrm>
        </p:spPr>
        <p:txBody>
          <a:bodyPr vert="horz" lIns="228600" tIns="228600" rIns="228600" bIns="0" rtlCol="0" anchor="b">
            <a:normAutofit/>
          </a:bodyPr>
          <a:lstStyle/>
          <a:p>
            <a:pPr>
              <a:lnSpc>
                <a:spcPct val="80000"/>
              </a:lnSpc>
            </a:pPr>
            <a:r>
              <a:rPr lang="en-US" sz="37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K-Means clustering</a:t>
            </a: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id="{F1A163B2-80B5-D24F-8776-980A3BFB480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/>
          <a:srcRect t="17581" r="-1" b="14815"/>
          <a:stretch/>
        </p:blipFill>
        <p:spPr>
          <a:xfrm>
            <a:off x="1" y="10"/>
            <a:ext cx="12191695" cy="4120995"/>
          </a:xfrm>
          <a:prstGeom prst="rect">
            <a:avLst/>
          </a:prstGeom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1885706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22FBE7-20E4-FA46-849C-C902A5052A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70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A1DB2ADF-189A-A045-A671-647AD77735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Outcome</a:t>
            </a:r>
            <a:r>
              <a:rPr lang="it-IT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: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169EA5C-3AE1-0642-9165-0582D8E9D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5855" y="360218"/>
            <a:ext cx="7467600" cy="5691590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70000"/>
              </a:lnSpc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xamination of real estates according to neighborhoods/London areas</a:t>
            </a:r>
          </a:p>
          <a:p>
            <a:pPr marL="342900" indent="-342900">
              <a:lnSpc>
                <a:spcPct val="170000"/>
              </a:lnSpc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West London (</a:t>
            </a:r>
            <a:r>
              <a:rPr lang="en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Notting</a:t>
            </a: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Hill, Kensington, Chelsea, Marylebone) and North-West London (</a:t>
            </a:r>
            <a:r>
              <a:rPr lang="en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Hampsted</a:t>
            </a: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 might be considered highly profitable venues to purchase a real estate;</a:t>
            </a:r>
          </a:p>
          <a:p>
            <a:pPr marL="342900" indent="-342900">
              <a:lnSpc>
                <a:spcPct val="170000"/>
              </a:lnSpc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outh-West London (</a:t>
            </a:r>
            <a:r>
              <a:rPr lang="en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Wandsworth</a:t>
            </a: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, Balham) and North-West London (</a:t>
            </a:r>
            <a:r>
              <a:rPr lang="en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sliington</a:t>
            </a: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 are arising as next future elite venues with a wide range of amenities and facilities. </a:t>
            </a:r>
          </a:p>
          <a:p>
            <a:pPr>
              <a:lnSpc>
                <a:spcPct val="170000"/>
              </a:lnSpc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Examination of real estates  by clusters</a:t>
            </a:r>
          </a:p>
          <a:p>
            <a:pPr marL="342900" indent="-342900">
              <a:lnSpc>
                <a:spcPct val="170000"/>
              </a:lnSpc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lusters 0, 2 and 4 may target home buyers prone to live in 'green' areas with parks, waterfronts;</a:t>
            </a:r>
          </a:p>
          <a:p>
            <a:pPr marL="342900" indent="-342900">
              <a:lnSpc>
                <a:spcPct val="170000"/>
              </a:lnSpc>
              <a:buFont typeface="+mj-lt"/>
              <a:buAutoNum type="arabicPeriod"/>
            </a:pPr>
            <a:r>
              <a:rPr lang="en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lusters 1 and 3 may target individuals who love pubs, theatres and soccer.</a:t>
            </a:r>
            <a:endParaRPr lang="it-IT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8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xaFarfKPtDIhQ3t0t0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cxyjZ_DBuzblRslY.h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WuF.OrjnfZH81HMPwt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1YgXAqhYSaVe19Dh1s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0GUsOAr1.nGVXGeOXl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K4MHfahMMX8vrKelED9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Words>270</Words>
  <Application>Microsoft Macintosh PowerPoint</Application>
  <PresentationFormat>Widescreen</PresentationFormat>
  <Paragraphs>2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Roboto Light</vt:lpstr>
      <vt:lpstr>Office Theme</vt:lpstr>
      <vt:lpstr>think-cell Slide</vt:lpstr>
      <vt:lpstr>IBM CAPSTONE PROJECT – The Battle of Neighborhoods:  Cluster Analysis of London Real Estate Market</vt:lpstr>
      <vt:lpstr>Business Problem section</vt:lpstr>
      <vt:lpstr>Business Problem</vt:lpstr>
      <vt:lpstr>Solution</vt:lpstr>
      <vt:lpstr>Data and Methodology</vt:lpstr>
      <vt:lpstr>K-Means clustering</vt:lpstr>
      <vt:lpstr>Outcome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IBM CAPSTONE PROJECT – The Battle of Neighborhoods:  Clustering Analysis of London Real Estate Market</dc:title>
  <dc:creator>Utente di Microsoft Office</dc:creator>
  <cp:lastModifiedBy>Егоренко Денис</cp:lastModifiedBy>
  <cp:revision>3</cp:revision>
  <dcterms:created xsi:type="dcterms:W3CDTF">2018-12-16T14:33:35Z</dcterms:created>
  <dcterms:modified xsi:type="dcterms:W3CDTF">2020-04-27T20:25:58Z</dcterms:modified>
</cp:coreProperties>
</file>